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93" r:id="rId3"/>
    <p:sldId id="275" r:id="rId4"/>
    <p:sldId id="292" r:id="rId5"/>
    <p:sldId id="289" r:id="rId6"/>
    <p:sldId id="290" r:id="rId7"/>
    <p:sldId id="296" r:id="rId8"/>
    <p:sldId id="297" r:id="rId9"/>
    <p:sldId id="299" r:id="rId10"/>
    <p:sldId id="298" r:id="rId11"/>
    <p:sldId id="291" r:id="rId12"/>
    <p:sldId id="300" r:id="rId13"/>
    <p:sldId id="301" r:id="rId14"/>
    <p:sldId id="302" r:id="rId15"/>
    <p:sldId id="303" r:id="rId16"/>
    <p:sldId id="294" r:id="rId17"/>
    <p:sldId id="305" r:id="rId18"/>
    <p:sldId id="304" r:id="rId19"/>
  </p:sldIdLst>
  <p:sldSz cx="9906000" cy="6858000" type="A4"/>
  <p:notesSz cx="6789738" cy="9929813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3657">
          <p15:clr>
            <a:srgbClr val="A4A3A4"/>
          </p15:clr>
        </p15:guide>
        <p15:guide id="5" orient="horz" pos="3475">
          <p15:clr>
            <a:srgbClr val="A4A3A4"/>
          </p15:clr>
        </p15:guide>
        <p15:guide id="6" orient="horz" pos="686">
          <p15:clr>
            <a:srgbClr val="A4A3A4"/>
          </p15:clr>
        </p15:guide>
        <p15:guide id="7" orient="horz" pos="1026">
          <p15:clr>
            <a:srgbClr val="A4A3A4"/>
          </p15:clr>
        </p15:guide>
        <p15:guide id="8" orient="horz" pos="3816">
          <p15:clr>
            <a:srgbClr val="A4A3A4"/>
          </p15:clr>
        </p15:guide>
        <p15:guide id="9" orient="horz" pos="3521">
          <p15:clr>
            <a:srgbClr val="A4A3A4"/>
          </p15:clr>
        </p15:guide>
        <p15:guide id="10" orient="horz" pos="4110">
          <p15:clr>
            <a:srgbClr val="A4A3A4"/>
          </p15:clr>
        </p15:guide>
        <p15:guide id="11" pos="3120">
          <p15:clr>
            <a:srgbClr val="A4A3A4"/>
          </p15:clr>
        </p15:guide>
        <p15:guide id="12" pos="6068">
          <p15:clr>
            <a:srgbClr val="A4A3A4"/>
          </p15:clr>
        </p15:guide>
        <p15:guide id="13" pos="172">
          <p15:clr>
            <a:srgbClr val="A4A3A4"/>
          </p15:clr>
        </p15:guide>
        <p15:guide id="14" pos="5161">
          <p15:clr>
            <a:srgbClr val="A4A3A4"/>
          </p15:clr>
        </p15:guide>
        <p15:guide id="15" pos="5252">
          <p15:clr>
            <a:srgbClr val="A4A3A4"/>
          </p15:clr>
        </p15:guide>
        <p15:guide id="16" pos="466">
          <p15:clr>
            <a:srgbClr val="A4A3A4"/>
          </p15:clr>
        </p15:guide>
        <p15:guide id="17" pos="2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CCEE"/>
    <a:srgbClr val="374EF8"/>
    <a:srgbClr val="800000"/>
    <a:srgbClr val="488FE2"/>
    <a:srgbClr val="6688BB"/>
    <a:srgbClr val="D2D2D2"/>
    <a:srgbClr val="000055"/>
    <a:srgbClr val="003355"/>
    <a:srgbClr val="AA0000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25" autoAdjust="0"/>
    <p:restoredTop sz="94667" autoAdjust="0"/>
  </p:normalViewPr>
  <p:slideViewPr>
    <p:cSldViewPr>
      <p:cViewPr varScale="1">
        <p:scale>
          <a:sx n="88" d="100"/>
          <a:sy n="88" d="100"/>
        </p:scale>
        <p:origin x="687" y="57"/>
      </p:cViewPr>
      <p:guideLst>
        <p:guide orient="horz" pos="2160"/>
        <p:guide orient="horz" pos="3997"/>
        <p:guide orient="horz" pos="754"/>
        <p:guide orient="horz" pos="3657"/>
        <p:guide orient="horz" pos="3475"/>
        <p:guide orient="horz" pos="686"/>
        <p:guide orient="horz" pos="1026"/>
        <p:guide orient="horz" pos="3816"/>
        <p:guide orient="horz" pos="3521"/>
        <p:guide orient="horz" pos="4110"/>
        <p:guide pos="3120"/>
        <p:guide pos="6068"/>
        <p:guide pos="172"/>
        <p:guide pos="5161"/>
        <p:guide pos="5252"/>
        <p:guide pos="466"/>
        <p:guide pos="2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4EBD3C-68A0-4B9E-90F5-336D359F77FD}" type="datetimeFigureOut">
              <a:rPr lang="en-GB" smtClean="0"/>
              <a:t>18/10/2017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16DE0B-856A-4F6D-B8CD-CB1DB341CD2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207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5947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7AA60B-46FE-4251-B38B-3F903E3E2E0F}" type="datetimeFigureOut">
              <a:rPr lang="de-DE" smtClean="0"/>
              <a:t>18.10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744538"/>
            <a:ext cx="53768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8974" y="4716661"/>
            <a:ext cx="543179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5947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7D0D-2961-41A9-B51E-0A78E518891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5536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3.jpeg"/><Relationship Id="rId5" Type="http://schemas.openxmlformats.org/officeDocument/2006/relationships/tags" Target="../tags/tag9.xml"/><Relationship Id="rId10" Type="http://schemas.openxmlformats.org/officeDocument/2006/relationships/image" Target="../media/image2.png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image" Target="../media/image3.jpeg"/><Relationship Id="rId5" Type="http://schemas.openxmlformats.org/officeDocument/2006/relationships/tags" Target="../tags/tag14.xml"/><Relationship Id="rId10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070000" y="3240000"/>
            <a:ext cx="5850650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200" b="1" i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 err="1"/>
              <a:t>ksglsdkfglksdf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70000" y="4140000"/>
            <a:ext cx="5850650" cy="1080000"/>
          </a:xfrm>
        </p:spPr>
        <p:txBody>
          <a:bodyPr>
            <a:normAutofit/>
          </a:bodyPr>
          <a:lstStyle>
            <a:lvl1pPr marL="0" indent="0" algn="l">
              <a:buNone/>
              <a:defRPr sz="1600" b="1" baseline="0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27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403593"/>
            <a:ext cx="1457332" cy="360000"/>
          </a:xfrm>
        </p:spPr>
        <p:txBody>
          <a:bodyPr>
            <a:normAutofit/>
          </a:bodyPr>
          <a:lstStyle>
            <a:lvl1pPr marL="0" indent="0">
              <a:buNone/>
              <a:defRPr sz="1000" b="1" baseline="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de-DE" dirty="0"/>
              <a:t>Triops Team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540000" y="774000"/>
            <a:ext cx="9000000" cy="144000"/>
          </a:xfrm>
          <a:prstGeom prst="rect">
            <a:avLst/>
          </a:prstGeom>
          <a:gradFill flip="none" rotWithShape="1">
            <a:gsLst>
              <a:gs pos="0">
                <a:srgbClr val="488FE2"/>
              </a:gs>
              <a:gs pos="100000">
                <a:schemeClr val="bg1"/>
              </a:gs>
              <a:gs pos="92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4758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04450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Slide" r:id="rId8" imgW="381" imgH="381" progId="TCLayout.ActiveDocument.1">
                  <p:embed/>
                </p:oleObj>
              </mc:Choice>
              <mc:Fallback>
                <p:oleObj name="think-cell Slide" r:id="rId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400" b="0" i="0" baseline="0" dirty="0" err="1">
              <a:solidFill>
                <a:schemeClr val="accent1"/>
              </a:solidFill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5" name="Textfeld 4"/>
          <p:cNvSpPr txBox="1"/>
          <p:nvPr userDrawn="1">
            <p:custDataLst>
              <p:tags r:id="rId4"/>
            </p:custDataLst>
          </p:nvPr>
        </p:nvSpPr>
        <p:spPr>
          <a:xfrm>
            <a:off x="2793240" y="6508800"/>
            <a:ext cx="4320000" cy="36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endParaRPr lang="en-US" sz="600" dirty="0">
              <a:solidFill>
                <a:srgbClr val="003366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272480" y="1196751"/>
            <a:ext cx="9340429" cy="4968553"/>
          </a:xfrm>
          <a:ln w="6350" cap="sq">
            <a:noFill/>
            <a:bevel/>
          </a:ln>
        </p:spPr>
        <p:txBody>
          <a:bodyPr>
            <a:noAutofit/>
          </a:bodyPr>
          <a:lstStyle>
            <a:lvl1pPr marL="180975" indent="-180975" algn="l">
              <a:spcBef>
                <a:spcPts val="0"/>
              </a:spcBef>
              <a:buClr>
                <a:srgbClr val="003366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52425" indent="-171450" algn="l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ú"/>
              <a:defRPr sz="1400">
                <a:solidFill>
                  <a:schemeClr val="tx2"/>
                </a:solidFill>
              </a:defRPr>
            </a:lvl2pPr>
            <a:lvl3pPr marL="542925" indent="-211138" algn="l">
              <a:spcBef>
                <a:spcPts val="300"/>
              </a:spcBef>
              <a:buClr>
                <a:srgbClr val="003366"/>
              </a:buClr>
              <a:buFont typeface="Calibri" pitchFamily="34" charset="0"/>
              <a:buChar char="-"/>
              <a:defRPr sz="1400" baseline="0">
                <a:solidFill>
                  <a:schemeClr val="tx2"/>
                </a:solidFill>
                <a:latin typeface="Calibri" pitchFamily="34" charset="0"/>
              </a:defRPr>
            </a:lvl3pPr>
            <a:lvl4pPr marL="803275" indent="-250825" algn="l">
              <a:spcBef>
                <a:spcPts val="300"/>
              </a:spcBef>
              <a:buClr>
                <a:srgbClr val="003366"/>
              </a:buClr>
              <a:buFont typeface="Wingdings 3" pitchFamily="18" charset="2"/>
              <a:buChar char=""/>
              <a:tabLst>
                <a:tab pos="803275" algn="l"/>
              </a:tabLst>
              <a:defRPr sz="1400">
                <a:solidFill>
                  <a:schemeClr val="tx2"/>
                </a:solidFill>
              </a:defRPr>
            </a:lvl4pPr>
            <a:lvl5pPr>
              <a:spcBef>
                <a:spcPts val="300"/>
              </a:spcBef>
              <a:buClr>
                <a:srgbClr val="003366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Foliennummernplatzhalter 8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7301509" y="6508756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AEBC51-CBF9-464E-BBDB-A1BEE886518B}" type="slidenum">
              <a:rPr lang="de-DE" smtClean="0">
                <a:solidFill>
                  <a:srgbClr val="003366"/>
                </a:solidFill>
              </a:rPr>
              <a:pPr/>
              <a:t>‹Nr.›</a:t>
            </a:fld>
            <a:endParaRPr lang="de-DE" dirty="0">
              <a:solidFill>
                <a:srgbClr val="003366"/>
              </a:solidFill>
            </a:endParaRP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940300" y="3416300"/>
            <a:ext cx="25400" cy="12700"/>
          </a:xfrm>
          <a:prstGeom prst="rect">
            <a:avLst/>
          </a:prstGeom>
        </p:spPr>
      </p:pic>
      <p:sp>
        <p:nvSpPr>
          <p:cNvPr id="22" name="Rechteck 21"/>
          <p:cNvSpPr/>
          <p:nvPr userDrawn="1"/>
        </p:nvSpPr>
        <p:spPr>
          <a:xfrm>
            <a:off x="959612" y="764704"/>
            <a:ext cx="7269752" cy="72007"/>
          </a:xfrm>
          <a:prstGeom prst="rect">
            <a:avLst/>
          </a:prstGeom>
          <a:gradFill flip="none" rotWithShape="1">
            <a:gsLst>
              <a:gs pos="0">
                <a:srgbClr val="488FE2"/>
              </a:gs>
              <a:gs pos="100000">
                <a:schemeClr val="bg1"/>
              </a:gs>
              <a:gs pos="92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Titel 1"/>
          <p:cNvSpPr>
            <a:spLocks noGrp="1"/>
          </p:cNvSpPr>
          <p:nvPr>
            <p:ph type="title"/>
          </p:nvPr>
        </p:nvSpPr>
        <p:spPr>
          <a:xfrm>
            <a:off x="884548" y="260648"/>
            <a:ext cx="7318158" cy="648072"/>
          </a:xfrm>
          <a:prstGeom prst="rect">
            <a:avLst/>
          </a:prstGeom>
        </p:spPr>
        <p:txBody>
          <a:bodyPr anchor="ctr"/>
          <a:lstStyle>
            <a:lvl1pPr algn="l">
              <a:defRPr sz="16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0945E27-EA88-4C3C-BA13-5DF6B93DF8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5" t="589" r="45330" b="53298"/>
          <a:stretch/>
        </p:blipFill>
        <p:spPr>
          <a:xfrm>
            <a:off x="160974" y="206076"/>
            <a:ext cx="705775" cy="61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846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63538" y="1628799"/>
            <a:ext cx="4373562" cy="4320481"/>
          </a:xfrm>
        </p:spPr>
        <p:txBody>
          <a:bodyPr>
            <a:noAutofit/>
          </a:bodyPr>
          <a:lstStyle>
            <a:lvl1pPr marL="179388" indent="-179388">
              <a:spcBef>
                <a:spcPts val="0"/>
              </a:spcBef>
              <a:buClr>
                <a:srgbClr val="003366"/>
              </a:buClr>
              <a:buFont typeface="Wingdings 2" pitchFamily="18" charset="2"/>
              <a:buChar char=""/>
              <a:defRPr sz="1400">
                <a:solidFill>
                  <a:schemeClr val="tx2"/>
                </a:solidFill>
              </a:defRPr>
            </a:lvl1pPr>
            <a:lvl2pPr marL="358775" indent="-179388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ú"/>
              <a:defRPr sz="1400">
                <a:solidFill>
                  <a:schemeClr val="tx2"/>
                </a:solidFill>
              </a:defRPr>
            </a:lvl2pPr>
            <a:lvl3pPr marL="538163" indent="-179388">
              <a:spcBef>
                <a:spcPts val="300"/>
              </a:spcBef>
              <a:buClr>
                <a:srgbClr val="003366"/>
              </a:buClr>
              <a:buFont typeface="Calibri" pitchFamily="34" charset="0"/>
              <a:buChar char="-"/>
              <a:defRPr sz="1400">
                <a:solidFill>
                  <a:schemeClr val="tx2"/>
                </a:solidFill>
              </a:defRPr>
            </a:lvl3pPr>
            <a:lvl4pPr marL="806450" indent="-277813">
              <a:spcBef>
                <a:spcPts val="300"/>
              </a:spcBef>
              <a:buClr>
                <a:srgbClr val="003366"/>
              </a:buClr>
              <a:buFont typeface="Wingdings 3" pitchFamily="18" charset="2"/>
              <a:buChar char=""/>
              <a:defRPr sz="1400">
                <a:solidFill>
                  <a:schemeClr val="tx2"/>
                </a:solidFill>
              </a:defRPr>
            </a:lvl4pPr>
            <a:lvl5pPr marL="985838" indent="-179388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"/>
              <a:defRPr sz="14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"/>
          <p:cNvSpPr>
            <a:spLocks noGrp="1"/>
          </p:cNvSpPr>
          <p:nvPr userDrawn="1">
            <p:ph type="title"/>
          </p:nvPr>
        </p:nvSpPr>
        <p:spPr>
          <a:xfrm>
            <a:off x="884548" y="260648"/>
            <a:ext cx="7318158" cy="648072"/>
          </a:xfrm>
          <a:prstGeom prst="rect">
            <a:avLst/>
          </a:prstGeom>
        </p:spPr>
        <p:txBody>
          <a:bodyPr anchor="ctr"/>
          <a:lstStyle>
            <a:lvl1pPr algn="l">
              <a:defRPr sz="1600" b="1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1" name="Inhaltsplatzhalter 3"/>
          <p:cNvSpPr>
            <a:spLocks noGrp="1"/>
          </p:cNvSpPr>
          <p:nvPr userDrawn="1">
            <p:ph sz="half" idx="13"/>
          </p:nvPr>
        </p:nvSpPr>
        <p:spPr>
          <a:xfrm>
            <a:off x="5168899" y="1628800"/>
            <a:ext cx="4444009" cy="4320480"/>
          </a:xfrm>
        </p:spPr>
        <p:txBody>
          <a:bodyPr>
            <a:noAutofit/>
          </a:bodyPr>
          <a:lstStyle>
            <a:lvl1pPr marL="179388" indent="-179388">
              <a:spcBef>
                <a:spcPts val="0"/>
              </a:spcBef>
              <a:buClr>
                <a:srgbClr val="003366"/>
              </a:buClr>
              <a:buFont typeface="Wingdings 2" pitchFamily="18" charset="2"/>
              <a:buChar char=""/>
              <a:defRPr sz="1400">
                <a:solidFill>
                  <a:schemeClr val="tx2"/>
                </a:solidFill>
              </a:defRPr>
            </a:lvl1pPr>
            <a:lvl2pPr marL="358775" indent="-179388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ú"/>
              <a:defRPr sz="1400">
                <a:solidFill>
                  <a:schemeClr val="tx2"/>
                </a:solidFill>
              </a:defRPr>
            </a:lvl2pPr>
            <a:lvl3pPr marL="538163" indent="-179388">
              <a:spcBef>
                <a:spcPts val="300"/>
              </a:spcBef>
              <a:buClr>
                <a:srgbClr val="003366"/>
              </a:buClr>
              <a:buFont typeface="Calibri" pitchFamily="34" charset="0"/>
              <a:buChar char="-"/>
              <a:defRPr sz="1400">
                <a:solidFill>
                  <a:schemeClr val="tx2"/>
                </a:solidFill>
              </a:defRPr>
            </a:lvl3pPr>
            <a:lvl4pPr marL="806450" indent="-277813">
              <a:spcBef>
                <a:spcPts val="300"/>
              </a:spcBef>
              <a:buClr>
                <a:srgbClr val="003366"/>
              </a:buClr>
              <a:buFont typeface="Wingdings 3" pitchFamily="18" charset="2"/>
              <a:buChar char=""/>
              <a:defRPr sz="1400">
                <a:solidFill>
                  <a:schemeClr val="tx2"/>
                </a:solidFill>
              </a:defRPr>
            </a:lvl4pPr>
            <a:lvl5pPr marL="985838" indent="-179388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"/>
              <a:defRPr sz="14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2" name="Foliennummernplatzhalter 8"/>
          <p:cNvSpPr txBox="1">
            <a:spLocks/>
          </p:cNvSpPr>
          <p:nvPr userDrawn="1"/>
        </p:nvSpPr>
        <p:spPr>
          <a:xfrm>
            <a:off x="7301509" y="650880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AEBC51-CBF9-464E-BBDB-A1BEE886518B}" type="slidenum">
              <a:rPr lang="de-DE" smtClean="0">
                <a:solidFill>
                  <a:srgbClr val="003366"/>
                </a:solidFill>
              </a:rPr>
              <a:pPr/>
              <a:t>‹Nr.›</a:t>
            </a:fld>
            <a:endParaRPr lang="de-DE" dirty="0">
              <a:solidFill>
                <a:srgbClr val="003366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6933220" y="3212976"/>
            <a:ext cx="0" cy="7560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7689304" y="3212976"/>
            <a:ext cx="0" cy="7560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6069124" y="4761148"/>
            <a:ext cx="0" cy="7560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>
            <a:off x="6885215" y="4761148"/>
            <a:ext cx="0" cy="7560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>
          <a:xfrm>
            <a:off x="8517396" y="4761148"/>
            <a:ext cx="0" cy="75608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 userDrawn="1"/>
        </p:nvSpPr>
        <p:spPr>
          <a:xfrm>
            <a:off x="959612" y="764704"/>
            <a:ext cx="7269752" cy="72007"/>
          </a:xfrm>
          <a:prstGeom prst="rect">
            <a:avLst/>
          </a:prstGeom>
          <a:gradFill flip="none" rotWithShape="1">
            <a:gsLst>
              <a:gs pos="0">
                <a:srgbClr val="488FE2"/>
              </a:gs>
              <a:gs pos="100000">
                <a:schemeClr val="bg1"/>
              </a:gs>
              <a:gs pos="92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05C3C22-ACA1-4876-842D-EFB7C807EE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5" t="589" r="45330" b="53298"/>
          <a:stretch/>
        </p:blipFill>
        <p:spPr>
          <a:xfrm>
            <a:off x="160974" y="206076"/>
            <a:ext cx="705775" cy="61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855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0114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" name="think-cell Slide" r:id="rId9" imgW="381" imgH="381" progId="TCLayout.ActiveDocument.1">
                  <p:embed/>
                </p:oleObj>
              </mc:Choice>
              <mc:Fallback>
                <p:oleObj name="think-cell Slide" r:id="rId9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272480" y="1600201"/>
            <a:ext cx="2808000" cy="3989039"/>
          </a:xfrm>
        </p:spPr>
        <p:txBody>
          <a:bodyPr>
            <a:normAutofit/>
          </a:bodyPr>
          <a:lstStyle>
            <a:lvl1pPr marL="180975" indent="-180975">
              <a:spcBef>
                <a:spcPts val="0"/>
              </a:spcBef>
              <a:buClr>
                <a:srgbClr val="003366"/>
              </a:buClr>
              <a:buFont typeface="Wingdings 2" pitchFamily="18" charset="2"/>
              <a:buChar char=""/>
              <a:defRPr sz="1400">
                <a:solidFill>
                  <a:srgbClr val="000055"/>
                </a:solidFill>
              </a:defRPr>
            </a:lvl1pPr>
            <a:lvl2pPr marL="358775" indent="-179388">
              <a:spcBef>
                <a:spcPts val="300"/>
              </a:spcBef>
              <a:buClr>
                <a:srgbClr val="003366"/>
              </a:buClr>
              <a:buFont typeface="Wingdings" pitchFamily="2" charset="2"/>
              <a:buChar char="ú"/>
              <a:defRPr sz="1400">
                <a:solidFill>
                  <a:srgbClr val="000055"/>
                </a:solidFill>
              </a:defRPr>
            </a:lvl2pPr>
            <a:lvl3pPr>
              <a:spcBef>
                <a:spcPts val="300"/>
              </a:spcBef>
              <a:buClr>
                <a:srgbClr val="003366"/>
              </a:buClr>
              <a:defRPr sz="1400">
                <a:solidFill>
                  <a:srgbClr val="000055"/>
                </a:solidFill>
              </a:defRPr>
            </a:lvl3pPr>
            <a:lvl4pPr marL="823912" indent="-285750">
              <a:spcBef>
                <a:spcPts val="300"/>
              </a:spcBef>
              <a:buFont typeface="Wingdings 3" pitchFamily="18" charset="2"/>
              <a:buChar char=""/>
              <a:defRPr sz="1400">
                <a:solidFill>
                  <a:srgbClr val="000055"/>
                </a:solidFill>
              </a:defRPr>
            </a:lvl4pPr>
            <a:lvl5pPr>
              <a:spcBef>
                <a:spcPts val="300"/>
              </a:spcBef>
              <a:defRPr sz="1400">
                <a:solidFill>
                  <a:srgbClr val="000055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err="1"/>
              <a:t>fjdsakfjalk</a:t>
            </a:r>
            <a:endParaRPr lang="de-DE" dirty="0"/>
          </a:p>
          <a:p>
            <a:pPr lvl="1"/>
            <a:r>
              <a:rPr lang="de-DE" dirty="0" err="1"/>
              <a:t>faksdlfjaöl</a:t>
            </a:r>
            <a:endParaRPr lang="de-DE" dirty="0"/>
          </a:p>
          <a:p>
            <a:pPr lvl="2"/>
            <a:r>
              <a:rPr lang="de-DE" dirty="0" err="1"/>
              <a:t>dkafjdsaklfj</a:t>
            </a:r>
            <a:endParaRPr lang="de-DE" dirty="0"/>
          </a:p>
          <a:p>
            <a:pPr lvl="3"/>
            <a:r>
              <a:rPr lang="de-DE" dirty="0" err="1"/>
              <a:t>djfajfasdöj</a:t>
            </a:r>
            <a:endParaRPr lang="de-DE" dirty="0"/>
          </a:p>
          <a:p>
            <a:pPr lvl="4"/>
            <a:r>
              <a:rPr lang="de-DE" dirty="0" err="1"/>
              <a:t>djklsafjdasklf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825208" y="1600201"/>
            <a:ext cx="2808000" cy="3989039"/>
          </a:xfrm>
        </p:spPr>
        <p:txBody>
          <a:bodyPr>
            <a:normAutofit/>
          </a:bodyPr>
          <a:lstStyle>
            <a:lvl1pPr marL="179388" indent="-179388">
              <a:spcBef>
                <a:spcPts val="0"/>
              </a:spcBef>
              <a:buFont typeface="Wingdings" pitchFamily="2" charset="2"/>
              <a:buChar char="§"/>
              <a:defRPr sz="1400" baseline="0">
                <a:solidFill>
                  <a:schemeClr val="tx2"/>
                </a:solidFill>
              </a:defRPr>
            </a:lvl1pPr>
            <a:lvl2pPr marL="357188" indent="-188913">
              <a:spcBef>
                <a:spcPts val="300"/>
              </a:spcBef>
              <a:buClr>
                <a:schemeClr val="bg1">
                  <a:lumMod val="65000"/>
                </a:schemeClr>
              </a:buClr>
              <a:buFont typeface="Wingdings" pitchFamily="2" charset="2"/>
              <a:buChar char="ú"/>
              <a:defRPr sz="1400" baseline="0">
                <a:solidFill>
                  <a:schemeClr val="tx2"/>
                </a:solidFill>
              </a:defRPr>
            </a:lvl2pPr>
            <a:lvl3pPr marL="546100" indent="-198438">
              <a:spcBef>
                <a:spcPts val="300"/>
              </a:spcBef>
              <a:buFont typeface="Calibri" pitchFamily="34" charset="0"/>
              <a:buChar char="-"/>
              <a:defRPr sz="1400" baseline="0">
                <a:solidFill>
                  <a:schemeClr val="tx2"/>
                </a:solidFill>
              </a:defRPr>
            </a:lvl3pPr>
            <a:lvl4pPr marL="822325" indent="-285750">
              <a:spcBef>
                <a:spcPts val="300"/>
              </a:spcBef>
              <a:buFont typeface="Wingdings 3" pitchFamily="18" charset="2"/>
              <a:buChar char="ª"/>
              <a:defRPr sz="1400" baseline="0">
                <a:solidFill>
                  <a:schemeClr val="tx2"/>
                </a:solidFill>
              </a:defRPr>
            </a:lvl4pPr>
            <a:lvl5pPr marL="1009650" indent="-190500">
              <a:spcBef>
                <a:spcPts val="300"/>
              </a:spcBef>
              <a:defRPr sz="1400" baseline="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itel 5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884548" y="259200"/>
            <a:ext cx="7318800" cy="64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6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ext ein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548844" y="1600201"/>
            <a:ext cx="2808000" cy="3989039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 marL="358775" indent="-179388">
              <a:spcBef>
                <a:spcPts val="300"/>
              </a:spcBef>
              <a:buFont typeface="Wingdings" pitchFamily="2" charset="2"/>
              <a:buChar char="ú"/>
              <a:defRPr>
                <a:solidFill>
                  <a:schemeClr val="tx2"/>
                </a:solidFill>
              </a:defRPr>
            </a:lvl2pPr>
            <a:lvl3pPr>
              <a:spcBef>
                <a:spcPts val="30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30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3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oliennummernplatzhalter 8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301509" y="650880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AEBC51-CBF9-464E-BBDB-A1BEE886518B}" type="slidenum">
              <a:rPr lang="de-DE" smtClean="0">
                <a:solidFill>
                  <a:srgbClr val="003366"/>
                </a:solidFill>
              </a:rPr>
              <a:pPr/>
              <a:t>‹Nr.›</a:t>
            </a:fld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959612" y="764704"/>
            <a:ext cx="7269752" cy="72007"/>
          </a:xfrm>
          <a:prstGeom prst="rect">
            <a:avLst/>
          </a:prstGeom>
          <a:gradFill flip="none" rotWithShape="1">
            <a:gsLst>
              <a:gs pos="0">
                <a:srgbClr val="488FE2"/>
              </a:gs>
              <a:gs pos="100000">
                <a:schemeClr val="bg1"/>
              </a:gs>
              <a:gs pos="92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BAE9661-45B2-425E-A3F7-0191838B7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5" t="589" r="45330" b="53298"/>
          <a:stretch/>
        </p:blipFill>
        <p:spPr>
          <a:xfrm>
            <a:off x="160974" y="206076"/>
            <a:ext cx="705775" cy="61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6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187873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7" name="think-cell Slide" r:id="rId11" imgW="381" imgH="381" progId="TCLayout.ActiveDocument.1">
                  <p:embed/>
                </p:oleObj>
              </mc:Choice>
              <mc:Fallback>
                <p:oleObj name="think-cell Slide" r:id="rId11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272480" y="1187811"/>
            <a:ext cx="936104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322120" y="6490826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3366"/>
                </a:solidFill>
              </a:defRPr>
            </a:lvl1pPr>
          </a:lstStyle>
          <a:p>
            <a:fld id="{37AEBC51-CBF9-464E-BBDB-A1BEE886518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itelplatzhalter 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220635" y="274638"/>
            <a:ext cx="1407460" cy="6307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400" b="0" dirty="0"/>
          </a:p>
        </p:txBody>
      </p:sp>
    </p:spTree>
    <p:extLst>
      <p:ext uri="{BB962C8B-B14F-4D97-AF65-F5344CB8AC3E}">
        <p14:creationId xmlns:p14="http://schemas.microsoft.com/office/powerpoint/2010/main" val="2377388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2" r:id="rId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rgbClr val="003366"/>
        </a:buClr>
        <a:buFont typeface="Wingdings 2" pitchFamily="18" charset="2"/>
        <a:buChar char="¡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rgbClr val="003366"/>
        </a:buClr>
        <a:buFont typeface="Wingdings" pitchFamily="2" charset="2"/>
        <a:buChar char="ú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rgbClr val="003366"/>
        </a:buClr>
        <a:buFont typeface="Calibri" pitchFamily="34" charset="0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06450" indent="-268288" algn="l" defTabSz="914400" rtl="0" eaLnBrk="1" latinLnBrk="0" hangingPunct="1">
        <a:spcBef>
          <a:spcPct val="20000"/>
        </a:spcBef>
        <a:buClr>
          <a:srgbClr val="003366"/>
        </a:buClr>
        <a:buFont typeface="Wingdings 3" pitchFamily="18" charset="2"/>
        <a:buChar char="ª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985838" indent="-179388" algn="l" defTabSz="914400" rtl="0" eaLnBrk="1" latinLnBrk="0" hangingPunct="1">
        <a:spcBef>
          <a:spcPct val="20000"/>
        </a:spcBef>
        <a:buClr>
          <a:srgbClr val="003366"/>
        </a:buClr>
        <a:buFont typeface="Wingdings" pitchFamily="2" charset="2"/>
        <a:buChar char="w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5.jpeg"/><Relationship Id="rId4" Type="http://schemas.openxmlformats.org/officeDocument/2006/relationships/tags" Target="../tags/tag19.xml"/><Relationship Id="rId9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7.tmp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tmp"/><Relationship Id="rId5" Type="http://schemas.openxmlformats.org/officeDocument/2006/relationships/image" Target="../media/image8.tmp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4.jpe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5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1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mp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1.xml"/><Relationship Id="rId7" Type="http://schemas.openxmlformats.org/officeDocument/2006/relationships/oleObject" Target="../embeddings/oleObject5.bin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8.jpe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9.jpeg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3.xml"/><Relationship Id="rId7" Type="http://schemas.openxmlformats.org/officeDocument/2006/relationships/oleObject" Target="../embeddings/oleObject5.bin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.xml"/><Relationship Id="rId7" Type="http://schemas.openxmlformats.org/officeDocument/2006/relationships/oleObject" Target="../embeddings/oleObject5.bin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mp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0.jpe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2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1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067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" name="think-cell Slide" r:id="rId8" imgW="315" imgH="315" progId="TCLayout.ActiveDocument.1">
                  <p:embed/>
                </p:oleObj>
              </mc:Choice>
              <mc:Fallback>
                <p:oleObj name="think-cell Slide" r:id="rId8" imgW="315" imgH="3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953000" y="3240000"/>
            <a:ext cx="4608512" cy="900000"/>
          </a:xfrm>
        </p:spPr>
        <p:txBody>
          <a:bodyPr/>
          <a:lstStyle/>
          <a:p>
            <a:r>
              <a:rPr lang="de-DE" b="0" dirty="0"/>
              <a:t>Wasser-Temperatur-Reglung</a:t>
            </a:r>
            <a:endParaRPr lang="de-DE" b="0" dirty="0">
              <a:solidFill>
                <a:schemeClr val="tx2"/>
              </a:solidFill>
            </a:endParaRP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025008" y="3609140"/>
            <a:ext cx="3599112" cy="1080000"/>
          </a:xfrm>
        </p:spPr>
        <p:txBody>
          <a:bodyPr/>
          <a:lstStyle/>
          <a:p>
            <a:r>
              <a:rPr lang="de-DE" dirty="0"/>
              <a:t>Dokumentation</a:t>
            </a:r>
          </a:p>
          <a:p>
            <a:r>
              <a:rPr lang="de-DE" dirty="0">
                <a:solidFill>
                  <a:schemeClr val="tx2"/>
                </a:solidFill>
              </a:rPr>
              <a:t>Version 2</a:t>
            </a:r>
          </a:p>
          <a:p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Rechteck 1"/>
          <p:cNvSpPr/>
          <p:nvPr>
            <p:custDataLst>
              <p:tags r:id="rId5"/>
            </p:custDataLst>
          </p:nvPr>
        </p:nvSpPr>
        <p:spPr>
          <a:xfrm>
            <a:off x="3404828" y="6597352"/>
            <a:ext cx="3132348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EC1C2C-6792-402B-8BD3-9CDD58470D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74" y="1105420"/>
            <a:ext cx="4372380" cy="3279290"/>
          </a:xfrm>
          <a:prstGeom prst="rect">
            <a:avLst/>
          </a:prstGeom>
        </p:spPr>
      </p:pic>
      <p:sp>
        <p:nvSpPr>
          <p:cNvPr id="23" name="Titel 8">
            <a:extLst>
              <a:ext uri="{FF2B5EF4-FFF2-40B4-BE49-F238E27FC236}">
                <a16:creationId xmlns:a16="http://schemas.microsoft.com/office/drawing/2014/main" id="{397ACD28-56C9-47EC-8C95-55EFDC74E2B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75613" y="4591031"/>
            <a:ext cx="4608512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i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0" dirty="0"/>
              <a:t>Triops Team</a:t>
            </a:r>
          </a:p>
        </p:txBody>
      </p:sp>
    </p:spTree>
    <p:extLst>
      <p:ext uri="{BB962C8B-B14F-4D97-AF65-F5344CB8AC3E}">
        <p14:creationId xmlns:p14="http://schemas.microsoft.com/office/powerpoint/2010/main" val="1922136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289F701-0157-489A-8B95-B9E6CD7B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altplan – Version 2</a:t>
            </a:r>
          </a:p>
        </p:txBody>
      </p:sp>
      <p:pic>
        <p:nvPicPr>
          <p:cNvPr id="7" name="Inhaltsplatzhalter 4" descr="Untitled Sketch.fzz* - Fritzing - [Schaltplanansicht]">
            <a:extLst>
              <a:ext uri="{FF2B5EF4-FFF2-40B4-BE49-F238E27FC236}">
                <a16:creationId xmlns:a16="http://schemas.microsoft.com/office/drawing/2014/main" id="{CF5EE944-A0F1-4D38-9123-92703F9034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3" t="32601" r="29436" b="26097"/>
          <a:stretch/>
        </p:blipFill>
        <p:spPr>
          <a:xfrm>
            <a:off x="279266" y="1783876"/>
            <a:ext cx="8670178" cy="4118341"/>
          </a:xfrm>
          <a:ln>
            <a:solidFill>
              <a:schemeClr val="accent1"/>
            </a:solidFill>
          </a:ln>
        </p:spPr>
      </p:pic>
      <p:pic>
        <p:nvPicPr>
          <p:cNvPr id="4" name="Grafik 3" descr="Untitled Sketch.fzz* - Fritzing - [Schaltplanansicht]">
            <a:extLst>
              <a:ext uri="{FF2B5EF4-FFF2-40B4-BE49-F238E27FC236}">
                <a16:creationId xmlns:a16="http://schemas.microsoft.com/office/drawing/2014/main" id="{49DDCA85-FFAB-4573-90DF-7C643E729D8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03" r="27102" b="34119"/>
          <a:stretch/>
        </p:blipFill>
        <p:spPr>
          <a:xfrm>
            <a:off x="300258" y="1939145"/>
            <a:ext cx="8637686" cy="3832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91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C29DB62-E407-4D3E-BF16-4BD253A42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ckplatine – Version 2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5296640-5B3E-4D62-9611-E3CDFDF064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1526096-9C2C-42F7-893A-73804C640693}"/>
              </a:ext>
            </a:extLst>
          </p:cNvPr>
          <p:cNvGrpSpPr/>
          <p:nvPr/>
        </p:nvGrpSpPr>
        <p:grpSpPr>
          <a:xfrm>
            <a:off x="278120" y="1016732"/>
            <a:ext cx="6691104" cy="5507410"/>
            <a:chOff x="278120" y="1016732"/>
            <a:chExt cx="6691104" cy="5507410"/>
          </a:xfrm>
        </p:grpSpPr>
        <p:pic>
          <p:nvPicPr>
            <p:cNvPr id="8" name="Inhaltsplatzhalter 4" descr="Untitled Sketch.fzz* - Fritzing - [Steckplatinenansicht]">
              <a:extLst>
                <a:ext uri="{FF2B5EF4-FFF2-40B4-BE49-F238E27FC236}">
                  <a16:creationId xmlns:a16="http://schemas.microsoft.com/office/drawing/2014/main" id="{7047BD6B-65D8-4E27-82F5-0917CD692B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843" t="21009" r="32686" b="11598"/>
            <a:stretch/>
          </p:blipFill>
          <p:spPr>
            <a:xfrm>
              <a:off x="278120" y="1016732"/>
              <a:ext cx="6691104" cy="5507410"/>
            </a:xfrm>
            <a:prstGeom prst="rect">
              <a:avLst/>
            </a:prstGeom>
            <a:ln w="6350" cap="sq">
              <a:solidFill>
                <a:schemeClr val="accent1"/>
              </a:solidFill>
              <a:bevel/>
            </a:ln>
          </p:spPr>
        </p:pic>
        <p:pic>
          <p:nvPicPr>
            <p:cNvPr id="9" name="Grafik 8" descr="Untitled Sketch.fzz* - Fritzing - [Steckplatinenansicht]">
              <a:extLst>
                <a:ext uri="{FF2B5EF4-FFF2-40B4-BE49-F238E27FC236}">
                  <a16:creationId xmlns:a16="http://schemas.microsoft.com/office/drawing/2014/main" id="{08D7DBC3-4F02-45E3-AD46-CE7ABDEC6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89" t="11686" r="26219" b="12879"/>
            <a:stretch/>
          </p:blipFill>
          <p:spPr>
            <a:xfrm>
              <a:off x="566540" y="1047499"/>
              <a:ext cx="6004392" cy="5396091"/>
            </a:xfrm>
            <a:prstGeom prst="rect">
              <a:avLst/>
            </a:prstGeom>
          </p:spPr>
        </p:pic>
      </p:grp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7A493F2D-E6E7-4BFB-804B-B430E1629A7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254126" y="1747579"/>
            <a:ext cx="2359078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auberer Aufbau Stromversorgungskonzept</a:t>
            </a:r>
          </a:p>
          <a:p>
            <a:r>
              <a:rPr lang="de-DE" dirty="0"/>
              <a:t>Höhere Skalierbarkeit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3CC7C5E-8129-437D-ACA9-689CAF8D27C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60200" y="1202195"/>
            <a:ext cx="2373320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Doku</a:t>
            </a:r>
          </a:p>
        </p:txBody>
      </p:sp>
      <p:sp>
        <p:nvSpPr>
          <p:cNvPr id="13" name="Freihandform 8">
            <a:extLst>
              <a:ext uri="{FF2B5EF4-FFF2-40B4-BE49-F238E27FC236}">
                <a16:creationId xmlns:a16="http://schemas.microsoft.com/office/drawing/2014/main" id="{8645ABF1-92F4-4CF8-97A0-B7D8B38B64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85248" y="1202195"/>
            <a:ext cx="248971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4606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AA700B-D731-45C7-BDBC-5357CB4E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ine – Version 3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A26E0AE-B8A6-424B-87F2-F9446F0B619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716525" y="1747579"/>
            <a:ext cx="2936384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te Temperatur-Funktion</a:t>
            </a:r>
          </a:p>
          <a:p>
            <a:r>
              <a:rPr lang="de-DE" dirty="0"/>
              <a:t>Einbau Heizung</a:t>
            </a:r>
          </a:p>
          <a:p>
            <a:r>
              <a:rPr lang="de-DE" dirty="0"/>
              <a:t>Einbau Sicherheitskonzept</a:t>
            </a:r>
          </a:p>
          <a:p>
            <a:pPr lvl="1"/>
            <a:r>
              <a:rPr lang="de-DE" dirty="0"/>
              <a:t>TEMP </a:t>
            </a:r>
            <a:r>
              <a:rPr lang="de-DE" dirty="0" err="1"/>
              <a:t>max</a:t>
            </a:r>
            <a:r>
              <a:rPr lang="de-DE" dirty="0"/>
              <a:t> 40 Grad</a:t>
            </a:r>
          </a:p>
          <a:p>
            <a:pPr lvl="1"/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D0D118C-D4D3-44DA-96A2-82EF93985D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20858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Änderungen</a:t>
            </a:r>
          </a:p>
        </p:txBody>
      </p:sp>
      <p:sp>
        <p:nvSpPr>
          <p:cNvPr id="8" name="Freihandform 8">
            <a:extLst>
              <a:ext uri="{FF2B5EF4-FFF2-40B4-BE49-F238E27FC236}">
                <a16:creationId xmlns:a16="http://schemas.microsoft.com/office/drawing/2014/main" id="{BD5A3E69-B7C8-45D5-9E35-7924CE6791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20858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7BD9CD-1361-4AB9-B0BB-834F0623C6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84" y="1214261"/>
            <a:ext cx="6327693" cy="474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3729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F341165-3968-442E-BE04-99C726683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Änderungsverfolg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283690-0494-4BD8-B01B-E07E0F9EE23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1924030"/>
            <a:ext cx="4262879" cy="3197158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E5CA2C14-79DC-4116-8C37-B1E1D3A7B4C9}"/>
              </a:ext>
            </a:extLst>
          </p:cNvPr>
          <p:cNvSpPr/>
          <p:nvPr/>
        </p:nvSpPr>
        <p:spPr>
          <a:xfrm>
            <a:off x="4582306" y="3130464"/>
            <a:ext cx="669380" cy="942430"/>
          </a:xfrm>
          <a:prstGeom prst="rightArrow">
            <a:avLst/>
          </a:prstGeom>
          <a:solidFill>
            <a:srgbClr val="374EF8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solidFill>
                <a:schemeClr val="accent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4006FAB-517F-420C-8881-85F13A31F3E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41032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Version 3</a:t>
            </a:r>
          </a:p>
        </p:txBody>
      </p:sp>
      <p:sp>
        <p:nvSpPr>
          <p:cNvPr id="9" name="Freihandform 8">
            <a:extLst>
              <a:ext uri="{FF2B5EF4-FFF2-40B4-BE49-F238E27FC236}">
                <a16:creationId xmlns:a16="http://schemas.microsoft.com/office/drawing/2014/main" id="{21912CC5-BAD0-4A5F-B026-A8AC22E45B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41032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B530670-6F1C-4B20-9E06-6B4FBE7417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2480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>
                <a:solidFill>
                  <a:srgbClr val="003355"/>
                </a:solidFill>
              </a:rPr>
              <a:t>Version 2</a:t>
            </a:r>
            <a:endParaRPr lang="de-DE" sz="1400" b="1" dirty="0">
              <a:solidFill>
                <a:srgbClr val="003355"/>
              </a:solidFill>
            </a:endParaRPr>
          </a:p>
        </p:txBody>
      </p:sp>
      <p:sp>
        <p:nvSpPr>
          <p:cNvPr id="11" name="Freihandform 8">
            <a:extLst>
              <a:ext uri="{FF2B5EF4-FFF2-40B4-BE49-F238E27FC236}">
                <a16:creationId xmlns:a16="http://schemas.microsoft.com/office/drawing/2014/main" id="{F7307F14-8F7C-4B8F-8DB2-7FB4B3D5688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2480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184001F-8A0B-4324-964F-0B6531413D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036" y="1933218"/>
            <a:ext cx="4250012" cy="318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6744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289F701-0157-489A-8B95-B9E6CD7B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altplan – Version 3</a:t>
            </a:r>
          </a:p>
        </p:txBody>
      </p:sp>
      <p:pic>
        <p:nvPicPr>
          <p:cNvPr id="5" name="Grafik 4" descr="Untitled Sketch.fzz* - Fritzing - [Schaltplanansicht]">
            <a:extLst>
              <a:ext uri="{FF2B5EF4-FFF2-40B4-BE49-F238E27FC236}">
                <a16:creationId xmlns:a16="http://schemas.microsoft.com/office/drawing/2014/main" id="{F5107939-B4BD-4EEF-8DA3-37FCBEED73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40" r="28556" b="26179"/>
          <a:stretch/>
        </p:blipFill>
        <p:spPr>
          <a:xfrm>
            <a:off x="590976" y="1815642"/>
            <a:ext cx="8054554" cy="426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927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C29DB62-E407-4D3E-BF16-4BD253A42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ckplatine – Version 3</a:t>
            </a:r>
          </a:p>
        </p:txBody>
      </p:sp>
      <p:pic>
        <p:nvPicPr>
          <p:cNvPr id="4" name="Inhaltsplatzhalter 3" descr="Untitled Sketch.fzz* - Fritzing - [Steckplatinenansicht]">
            <a:extLst>
              <a:ext uri="{FF2B5EF4-FFF2-40B4-BE49-F238E27FC236}">
                <a16:creationId xmlns:a16="http://schemas.microsoft.com/office/drawing/2014/main" id="{E76DB6C1-5161-4876-93E0-975EC995E1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11" r="28815" b="13461"/>
          <a:stretch/>
        </p:blipFill>
        <p:spPr>
          <a:xfrm>
            <a:off x="272480" y="1072964"/>
            <a:ext cx="8466693" cy="5360490"/>
          </a:xfrm>
        </p:spPr>
      </p:pic>
    </p:spTree>
    <p:extLst>
      <p:ext uri="{BB962C8B-B14F-4D97-AF65-F5344CB8AC3E}">
        <p14:creationId xmlns:p14="http://schemas.microsoft.com/office/powerpoint/2010/main" val="14052479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7" imgW="315" imgH="315" progId="TCLayout.ActiveDocument.1">
                  <p:embed/>
                </p:oleObj>
              </mc:Choice>
              <mc:Fallback>
                <p:oleObj name="think-cell Slide" r:id="rId7" imgW="315" imgH="31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 err="1">
              <a:solidFill>
                <a:schemeClr val="accent1"/>
              </a:solidFill>
              <a:latin typeface="Calibri"/>
              <a:sym typeface="Calibri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48544" y="260648"/>
            <a:ext cx="7300228" cy="64807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nhaltsübersicht</a:t>
            </a:r>
          </a:p>
        </p:txBody>
      </p:sp>
      <p:graphicFrame>
        <p:nvGraphicFramePr>
          <p:cNvPr id="20" name="Group 292"/>
          <p:cNvGraphicFramePr>
            <a:graphicFrameLocks noGrp="1"/>
          </p:cNvGraphicFramePr>
          <p:nvPr>
            <p:ph idx="1"/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0552039"/>
              </p:ext>
            </p:extLst>
          </p:nvPr>
        </p:nvGraphicFramePr>
        <p:xfrm>
          <a:off x="308485" y="1266825"/>
          <a:ext cx="8875775" cy="1076670"/>
        </p:xfrm>
        <a:graphic>
          <a:graphicData uri="http://schemas.openxmlformats.org/drawingml/2006/table">
            <a:tbl>
              <a:tblPr/>
              <a:tblGrid>
                <a:gridCol w="455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204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User Story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Schaltplan und Steckplatine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Anforderungs-Visualisierung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123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4782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4469186-AC86-40F2-B4F5-AB82463D3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weiterte Systemanforderungen – Version 2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292D26E-A6A0-40E4-B140-F42AEA040F3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09" y="1909199"/>
            <a:ext cx="6141597" cy="4606197"/>
          </a:xfrm>
          <a:prstGeom prst="rect">
            <a:avLst/>
          </a:prstGeom>
        </p:spPr>
      </p:pic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41C49575-5B2E-4FF9-A541-D36C467B2CD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716525" y="1747579"/>
            <a:ext cx="2936384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nzeption Quittier-Funktion</a:t>
            </a:r>
          </a:p>
          <a:p>
            <a:r>
              <a:rPr lang="de-DE" dirty="0"/>
              <a:t>Niederfrequenz-Buzzer realisiert</a:t>
            </a:r>
          </a:p>
          <a:p>
            <a:pPr lvl="1"/>
            <a:r>
              <a:rPr lang="de-DE" dirty="0"/>
              <a:t>Tonlage für Testbedarfe verringert</a:t>
            </a:r>
          </a:p>
          <a:p>
            <a:r>
              <a:rPr lang="de-DE" dirty="0"/>
              <a:t>Usability optimiert am Buzzer</a:t>
            </a:r>
          </a:p>
          <a:p>
            <a:pPr lvl="1"/>
            <a:r>
              <a:rPr lang="de-DE" dirty="0"/>
              <a:t>Time-lag wurde eliminie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A5E957D-3591-45E2-ACE0-5D0FB1F87C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20858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Funktionserweiterung</a:t>
            </a:r>
          </a:p>
        </p:txBody>
      </p:sp>
      <p:sp>
        <p:nvSpPr>
          <p:cNvPr id="8" name="Freihandform 8">
            <a:extLst>
              <a:ext uri="{FF2B5EF4-FFF2-40B4-BE49-F238E27FC236}">
                <a16:creationId xmlns:a16="http://schemas.microsoft.com/office/drawing/2014/main" id="{247BB35E-84C9-428D-A8A0-38F7BD1A54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20858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1637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4469186-AC86-40F2-B4F5-AB82463D3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stemlösung – Version 3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41C49575-5B2E-4FF9-A541-D36C467B2CD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716525" y="1747579"/>
            <a:ext cx="2936384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emperaturfühler</a:t>
            </a:r>
          </a:p>
          <a:p>
            <a:r>
              <a:rPr lang="de-DE" dirty="0"/>
              <a:t>Heizung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A5E957D-3591-45E2-ACE0-5D0FB1F87C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20858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Funktionserweiterung</a:t>
            </a:r>
          </a:p>
        </p:txBody>
      </p:sp>
      <p:sp>
        <p:nvSpPr>
          <p:cNvPr id="8" name="Freihandform 8">
            <a:extLst>
              <a:ext uri="{FF2B5EF4-FFF2-40B4-BE49-F238E27FC236}">
                <a16:creationId xmlns:a16="http://schemas.microsoft.com/office/drawing/2014/main" id="{247BB35E-84C9-428D-A8A0-38F7BD1A54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20858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E688FCA-F524-4682-A744-D279A37C34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598" y="1088740"/>
            <a:ext cx="6146988" cy="4610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438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7" imgW="315" imgH="315" progId="TCLayout.ActiveDocument.1">
                  <p:embed/>
                </p:oleObj>
              </mc:Choice>
              <mc:Fallback>
                <p:oleObj name="think-cell Slide" r:id="rId7" imgW="315" imgH="31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 err="1">
              <a:solidFill>
                <a:schemeClr val="accent1"/>
              </a:solidFill>
              <a:latin typeface="Calibri"/>
              <a:sym typeface="Calibri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48544" y="260648"/>
            <a:ext cx="7300228" cy="64807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nhaltsübersicht</a:t>
            </a:r>
          </a:p>
        </p:txBody>
      </p:sp>
      <p:graphicFrame>
        <p:nvGraphicFramePr>
          <p:cNvPr id="20" name="Group 292"/>
          <p:cNvGraphicFramePr>
            <a:graphicFrameLocks noGrp="1"/>
          </p:cNvGraphicFramePr>
          <p:nvPr>
            <p:ph idx="1"/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6670048"/>
              </p:ext>
            </p:extLst>
          </p:nvPr>
        </p:nvGraphicFramePr>
        <p:xfrm>
          <a:off x="308485" y="1266825"/>
          <a:ext cx="8875775" cy="1076670"/>
        </p:xfrm>
        <a:graphic>
          <a:graphicData uri="http://schemas.openxmlformats.org/drawingml/2006/table">
            <a:tbl>
              <a:tblPr/>
              <a:tblGrid>
                <a:gridCol w="455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204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User Story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Schaltplan und Steckplatine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Anforderungs-Visualisierung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123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3634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2480" y="1196751"/>
            <a:ext cx="9340429" cy="3816425"/>
          </a:xfrm>
          <a:ln>
            <a:noFill/>
          </a:ln>
        </p:spPr>
        <p:txBody>
          <a:bodyPr/>
          <a:lstStyle/>
          <a:p>
            <a:pPr>
              <a:lnSpc>
                <a:spcPct val="90000"/>
              </a:lnSpc>
              <a:buNone/>
            </a:pPr>
            <a:r>
              <a:rPr lang="de-DE" altLang="de-DE" sz="18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rfolgreiches Züchten von Urzeitkrebsen</a:t>
            </a:r>
            <a:endParaRPr lang="de-DE" altLang="de-DE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n"/>
            </a:pPr>
            <a:endParaRPr lang="de-DE" alt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628650" indent="-342900">
              <a:lnSpc>
                <a:spcPct val="90000"/>
              </a:lnSpc>
              <a:buFont typeface="+mj-lt"/>
              <a:buAutoNum type="arabicPeriod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ufgabe</a:t>
            </a:r>
            <a:endParaRPr lang="de-DE" altLang="de-D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Züchter soll alarmiert werden, wenn Temperatur über oder unterschritten wird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n"/>
            </a:pPr>
            <a:endParaRPr lang="de-DE" alt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628650" indent="-342900">
              <a:lnSpc>
                <a:spcPct val="90000"/>
              </a:lnSpc>
              <a:buFont typeface="+mj-lt"/>
              <a:buAutoNum type="arabicPeriod"/>
            </a:pPr>
            <a:r>
              <a:rPr lang="de-DE" altLang="de-DE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kzeptanzkriterien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&lt; 20 Grad: Buzzer aktivieren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&gt; 27 Grad: Buzzer aktivieren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Zusätzliche soll eine Beleuchtung eingerichtet sein</a:t>
            </a:r>
          </a:p>
          <a:p>
            <a:pPr marL="331787" lvl="2" indent="0">
              <a:lnSpc>
                <a:spcPct val="90000"/>
              </a:lnSpc>
              <a:buNone/>
            </a:pPr>
            <a:endParaRPr lang="de-DE" alt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628650" indent="-342900">
              <a:lnSpc>
                <a:spcPct val="90000"/>
              </a:lnSpc>
              <a:buFont typeface="+mj-lt"/>
              <a:buAutoNum type="arabicPeriod"/>
            </a:pPr>
            <a:r>
              <a:rPr lang="de-DE" altLang="de-DE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rweiterung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Einrichten einer </a:t>
            </a:r>
            <a:r>
              <a:rPr lang="de-DE" altLang="de-DE" sz="16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Quittierfunktion</a:t>
            </a: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, wenn der Züchter sich um die Problembehebung kümmert soll das Alarmsignal auszuschalten sein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endParaRPr lang="de-DE" alt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628650" indent="-342900">
              <a:lnSpc>
                <a:spcPct val="90000"/>
              </a:lnSpc>
              <a:buFont typeface="+mj-lt"/>
              <a:buAutoNum type="arabicPeriod"/>
            </a:pPr>
            <a:r>
              <a:rPr lang="de-DE" altLang="de-DE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rweiterung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Einrichten einer Heizung mit Regelung der Wassertemperatur 23 Grad&lt; </a:t>
            </a:r>
            <a:r>
              <a:rPr lang="de-DE" altLang="de-DE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</a:t>
            </a: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&lt;25 Grad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r>
              <a:rPr lang="de-DE" altLang="de-DE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Notabschaltfunktion der Heizung bei Wassertemperatur &gt; 40 Grad</a:t>
            </a:r>
          </a:p>
          <a:p>
            <a:pPr lvl="2">
              <a:lnSpc>
                <a:spcPct val="90000"/>
              </a:lnSpc>
              <a:buFont typeface="Wingdings" panose="05000000000000000000" pitchFamily="2" charset="2"/>
              <a:buChar char="n"/>
            </a:pPr>
            <a:endParaRPr lang="de-DE" alt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User Story</a:t>
            </a:r>
          </a:p>
        </p:txBody>
      </p:sp>
    </p:spTree>
    <p:extLst>
      <p:ext uri="{BB962C8B-B14F-4D97-AF65-F5344CB8AC3E}">
        <p14:creationId xmlns:p14="http://schemas.microsoft.com/office/powerpoint/2010/main" val="253263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7" imgW="315" imgH="315" progId="TCLayout.ActiveDocument.1">
                  <p:embed/>
                </p:oleObj>
              </mc:Choice>
              <mc:Fallback>
                <p:oleObj name="think-cell Slide" r:id="rId7" imgW="315" imgH="31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 err="1">
              <a:solidFill>
                <a:schemeClr val="accent1"/>
              </a:solidFill>
              <a:latin typeface="Calibri"/>
              <a:sym typeface="Calibri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48544" y="260648"/>
            <a:ext cx="7300228" cy="64807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Inhaltsübersicht</a:t>
            </a:r>
          </a:p>
        </p:txBody>
      </p:sp>
      <p:graphicFrame>
        <p:nvGraphicFramePr>
          <p:cNvPr id="20" name="Group 292"/>
          <p:cNvGraphicFramePr>
            <a:graphicFrameLocks noGrp="1"/>
          </p:cNvGraphicFramePr>
          <p:nvPr>
            <p:ph idx="1"/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87004647"/>
              </p:ext>
            </p:extLst>
          </p:nvPr>
        </p:nvGraphicFramePr>
        <p:xfrm>
          <a:off x="308485" y="1266825"/>
          <a:ext cx="8875775" cy="1076670"/>
        </p:xfrm>
        <a:graphic>
          <a:graphicData uri="http://schemas.openxmlformats.org/drawingml/2006/table">
            <a:tbl>
              <a:tblPr/>
              <a:tblGrid>
                <a:gridCol w="455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204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User Story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Schaltplan und Steckplatine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BC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marL="0" marR="0" lvl="0" indent="0" algn="ctr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0" marR="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55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itchFamily="34" charset="0"/>
                        </a:rPr>
                        <a:t>Anforderungs-Visualisierung</a:t>
                      </a:r>
                    </a:p>
                  </a:txBody>
                  <a:tcPr marL="126000" marR="360000" marT="72000" marB="72000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123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9909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AA700B-D731-45C7-BDBC-5357CB4E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ine – Version 1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6D11448-2AE0-4E84-A54A-37EBEC5744A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048" y="1204759"/>
            <a:ext cx="6327693" cy="4745770"/>
          </a:xfrm>
          <a:prstGeom prst="rect">
            <a:avLst/>
          </a:prstGeom>
        </p:spPr>
      </p:pic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A26E0AE-B8A6-424B-87F2-F9446F0B619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716525" y="1747579"/>
            <a:ext cx="2936384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m ersten Schritt ohne Buzzer</a:t>
            </a:r>
          </a:p>
          <a:p>
            <a:pPr lvl="1"/>
            <a:r>
              <a:rPr lang="de-DE" dirty="0"/>
              <a:t>Sichtkontrolle über LED</a:t>
            </a:r>
          </a:p>
          <a:p>
            <a:pPr lvl="1"/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D0D118C-D4D3-44DA-96A2-82EF93985D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20858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Doku</a:t>
            </a:r>
          </a:p>
        </p:txBody>
      </p:sp>
      <p:sp>
        <p:nvSpPr>
          <p:cNvPr id="8" name="Freihandform 8">
            <a:extLst>
              <a:ext uri="{FF2B5EF4-FFF2-40B4-BE49-F238E27FC236}">
                <a16:creationId xmlns:a16="http://schemas.microsoft.com/office/drawing/2014/main" id="{BD5A3E69-B7C8-45D5-9E35-7924CE6791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20858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1798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289F701-0157-489A-8B95-B9E6CD7B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chaltplan – Version 1</a:t>
            </a:r>
            <a:endParaRPr lang="de-DE" dirty="0"/>
          </a:p>
        </p:txBody>
      </p:sp>
      <p:pic>
        <p:nvPicPr>
          <p:cNvPr id="7" name="Inhaltsplatzhalter 4" descr="Untitled Sketch.fzz* - Fritzing - [Schaltplanansicht]">
            <a:extLst>
              <a:ext uri="{FF2B5EF4-FFF2-40B4-BE49-F238E27FC236}">
                <a16:creationId xmlns:a16="http://schemas.microsoft.com/office/drawing/2014/main" id="{CF5EE944-A0F1-4D38-9123-92703F9034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3" t="32601" r="29436" b="26097"/>
          <a:stretch/>
        </p:blipFill>
        <p:spPr>
          <a:xfrm>
            <a:off x="279266" y="1783876"/>
            <a:ext cx="8670178" cy="4118341"/>
          </a:xfr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694267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Untitled Sketch.fzz* - Fritzing - [Steckplatinenansicht]">
            <a:extLst>
              <a:ext uri="{FF2B5EF4-FFF2-40B4-BE49-F238E27FC236}">
                <a16:creationId xmlns:a16="http://schemas.microsoft.com/office/drawing/2014/main" id="{F8288A35-1ACD-4BAC-A0DC-16A6DBA8B7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3" t="21009" r="32686" b="11598"/>
          <a:stretch/>
        </p:blipFill>
        <p:spPr>
          <a:xfrm>
            <a:off x="278120" y="1016732"/>
            <a:ext cx="6691104" cy="5507410"/>
          </a:xfrm>
          <a:ln>
            <a:solidFill>
              <a:schemeClr val="accent1"/>
            </a:solidFill>
          </a:ln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C29DB62-E407-4D3E-BF16-4BD253A42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ckplatine – Version 1</a:t>
            </a:r>
          </a:p>
        </p:txBody>
      </p:sp>
      <p:pic>
        <p:nvPicPr>
          <p:cNvPr id="4" name="Grafik 3" descr="Untitled Sketch.fzz* - Fritzing - [Steckplatinenansicht]">
            <a:extLst>
              <a:ext uri="{FF2B5EF4-FFF2-40B4-BE49-F238E27FC236}">
                <a16:creationId xmlns:a16="http://schemas.microsoft.com/office/drawing/2014/main" id="{B6EC4787-7D58-4A8D-9D3B-E5CF33D035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9" t="11686" r="26219" b="12879"/>
          <a:stretch/>
        </p:blipFill>
        <p:spPr>
          <a:xfrm>
            <a:off x="566540" y="1047499"/>
            <a:ext cx="6004392" cy="539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3608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AA700B-D731-45C7-BDBC-5357CB4E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ine – Version 2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3A26E0AE-B8A6-424B-87F2-F9446F0B619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716525" y="1747579"/>
            <a:ext cx="2936384" cy="4429100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2" pitchFamily="18" charset="2"/>
              <a:buChar char="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ú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Calibri" pitchFamily="34" charset="0"/>
              <a:buChar char="-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2682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 3" pitchFamily="18" charset="2"/>
              <a:buChar char="ª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85838" indent="-179388" algn="l" defTabSz="914400" rtl="0" eaLnBrk="1" latinLnBrk="0" hangingPunct="1">
              <a:spcBef>
                <a:spcPct val="20000"/>
              </a:spcBef>
              <a:buClr>
                <a:srgbClr val="003366"/>
              </a:buClr>
              <a:buFont typeface="Wingdings" pitchFamily="2" charset="2"/>
              <a:buChar char="w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te Buzzer-Funktion</a:t>
            </a:r>
          </a:p>
          <a:p>
            <a:r>
              <a:rPr lang="de-DE" dirty="0"/>
              <a:t>Einbau </a:t>
            </a:r>
            <a:r>
              <a:rPr lang="de-DE" dirty="0" err="1"/>
              <a:t>Quittiertaster</a:t>
            </a:r>
            <a:endParaRPr lang="de-DE" dirty="0"/>
          </a:p>
          <a:p>
            <a:r>
              <a:rPr lang="de-DE" dirty="0"/>
              <a:t>Neues Stromversorgungskonzept</a:t>
            </a:r>
          </a:p>
          <a:p>
            <a:pPr lvl="1"/>
            <a:r>
              <a:rPr lang="de-DE" dirty="0"/>
              <a:t>Sauberer getrennt</a:t>
            </a:r>
          </a:p>
          <a:p>
            <a:pPr lvl="1"/>
            <a:r>
              <a:rPr lang="de-DE" dirty="0"/>
              <a:t>Weniger Port-/</a:t>
            </a:r>
            <a:r>
              <a:rPr lang="de-DE" dirty="0" err="1"/>
              <a:t>Pinverbrauch</a:t>
            </a:r>
            <a:r>
              <a:rPr lang="de-DE" dirty="0"/>
              <a:t> am Mainboard</a:t>
            </a:r>
          </a:p>
          <a:p>
            <a:pPr lvl="1"/>
            <a:r>
              <a:rPr lang="de-DE" dirty="0"/>
              <a:t>Vorteil: höhere Skalierbarkeit</a:t>
            </a:r>
          </a:p>
          <a:p>
            <a:pPr lvl="1"/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D0D118C-D4D3-44DA-96A2-82EF93985D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20858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Änderungen</a:t>
            </a:r>
          </a:p>
        </p:txBody>
      </p:sp>
      <p:sp>
        <p:nvSpPr>
          <p:cNvPr id="8" name="Freihandform 8">
            <a:extLst>
              <a:ext uri="{FF2B5EF4-FFF2-40B4-BE49-F238E27FC236}">
                <a16:creationId xmlns:a16="http://schemas.microsoft.com/office/drawing/2014/main" id="{BD5A3E69-B7C8-45D5-9E35-7924CE6791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20858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232EF23-ED5F-4FB1-8677-46C25C88F7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75" y="1202195"/>
            <a:ext cx="6331113" cy="474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960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F341165-3968-442E-BE04-99C726683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Änderungsverfolg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283690-0494-4BD8-B01B-E07E0F9EE23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271" y="1924030"/>
            <a:ext cx="4262879" cy="319715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ABB7DAE-9918-46E7-ACCC-DCBF6B2CB8D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1923895"/>
            <a:ext cx="4257012" cy="3192760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E5CA2C14-79DC-4116-8C37-B1E1D3A7B4C9}"/>
              </a:ext>
            </a:extLst>
          </p:cNvPr>
          <p:cNvSpPr/>
          <p:nvPr/>
        </p:nvSpPr>
        <p:spPr>
          <a:xfrm>
            <a:off x="4582306" y="3130464"/>
            <a:ext cx="669380" cy="942430"/>
          </a:xfrm>
          <a:prstGeom prst="rightArrow">
            <a:avLst/>
          </a:prstGeom>
          <a:solidFill>
            <a:srgbClr val="374EF8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solidFill>
                <a:schemeClr val="accent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4006FAB-517F-420C-8881-85F13A31F3E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41032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Version 2</a:t>
            </a:r>
          </a:p>
        </p:txBody>
      </p:sp>
      <p:sp>
        <p:nvSpPr>
          <p:cNvPr id="9" name="Freihandform 8">
            <a:extLst>
              <a:ext uri="{FF2B5EF4-FFF2-40B4-BE49-F238E27FC236}">
                <a16:creationId xmlns:a16="http://schemas.microsoft.com/office/drawing/2014/main" id="{21912CC5-BAD0-4A5F-B026-A8AC22E45B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41032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B530670-6F1C-4B20-9E06-6B4FBE7417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2480" y="1202195"/>
            <a:ext cx="2954109" cy="427383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rgbClr val="003355"/>
                </a:solidFill>
              </a:rPr>
              <a:t>Version 1</a:t>
            </a:r>
          </a:p>
        </p:txBody>
      </p:sp>
      <p:sp>
        <p:nvSpPr>
          <p:cNvPr id="11" name="Freihandform 8">
            <a:extLst>
              <a:ext uri="{FF2B5EF4-FFF2-40B4-BE49-F238E27FC236}">
                <a16:creationId xmlns:a16="http://schemas.microsoft.com/office/drawing/2014/main" id="{F7307F14-8F7C-4B8F-8DB2-7FB4B3D5688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2480" y="1202195"/>
            <a:ext cx="2954109" cy="427383"/>
          </a:xfrm>
          <a:custGeom>
            <a:avLst/>
            <a:gdLst>
              <a:gd name="connsiteX0" fmla="*/ 0 w 4601818"/>
              <a:gd name="connsiteY0" fmla="*/ 0 h 427383"/>
              <a:gd name="connsiteX1" fmla="*/ 0 w 4601818"/>
              <a:gd name="connsiteY1" fmla="*/ 427383 h 427383"/>
              <a:gd name="connsiteX2" fmla="*/ 4601818 w 4601818"/>
              <a:gd name="connsiteY2" fmla="*/ 427383 h 427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01818" h="427383">
                <a:moveTo>
                  <a:pt x="0" y="0"/>
                </a:moveTo>
                <a:lnTo>
                  <a:pt x="0" y="427383"/>
                </a:lnTo>
                <a:lnTo>
                  <a:pt x="4601818" y="427383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0522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2.40641158678287550000E+000&quot;&gt;&lt;m_ppcolschidx val=&quot;0&quot;/&gt;&lt;m_rgb r=&quot;0&quot; g=&quot;0&quot; b=&quot;55&quot;/&gt;&lt;/elem&gt;&lt;elem m_fUsage=&quot;2.40400474398803300000E+000&quot;&gt;&lt;m_ppcolschidx val=&quot;0&quot;/&gt;&lt;m_rgb r=&quot;d2&quot; g=&quot;d2&quot; b=&quot;d2&quot;/&gt;&lt;/elem&gt;&lt;elem m_fUsage=&quot;1.59141175782955370000E+000&quot;&gt;&lt;m_ppcolschidx val=&quot;0&quot;/&gt;&lt;m_rgb r=&quot;aa&quot; g=&quot;0&quot; b=&quot;0&quot;/&gt;&lt;/elem&gt;&lt;elem m_fUsage=&quot;1.28845351738963320000E+000&quot;&gt;&lt;m_ppcolschidx val=&quot;0&quot;/&gt;&lt;m_rgb r=&quot;99&quot; g=&quot;99&quot; b=&quot;99&quot;/&gt;&lt;/elem&gt;&lt;elem m_fUsage=&quot;1.16766248572296090000E+000&quot;&gt;&lt;m_ppcolschidx val=&quot;0&quot;/&gt;&lt;m_rgb r=&quot;bb&quot; g=&quot;cc&quot; b=&quot;ee&quot;/&gt;&lt;/elem&gt;&lt;elem m_fUsage=&quot;1.06350423617415580000E+000&quot;&gt;&lt;m_ppcolschidx val=&quot;0&quot;/&gt;&lt;m_rgb r=&quot;66&quot; g=&quot;88&quot; b=&quot;bb&quot;/&gt;&lt;/elem&gt;&lt;/m_vecMRU&gt;&lt;/m_mruColor&gt;&lt;m_mapectfillschemeMRU&gt;&lt;key val=&quot;0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9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6CoxmraEygtDy6cdbP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uAVM6.KEi5jUMM6PdL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zOSpQCXUOwNwAh3ReO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bN8FBJ8kOzDut1RuPm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jneNhwE6de_ID2keT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j9XpDyUUWZbRqRA3IX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G0bi5nt0.ThaIY4UnX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ulonmlZkKqhrdrUIRb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0hjR0oBU2BnzH_ndUm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G0bi5nt0.ThaIY4UnX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N5wmD60u4TcyNXrGm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xMJuT_.kyrMTA5OdId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fY2dITmE2rGZtUPq.L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N5wmD60u4TcyNXrGm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xMJuT_.kyrMTA5OdId_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fY2dITmE2rGZtUPq.L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DvR33Rz0iGkvrtWDqW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XAGQGQKU6JuFmpILYx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XnNlWjDkWz8ur_bfeTK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N5wmD60u4TcyNXrGm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xMJuT_.kyrMTA5OdId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fY2dITmE2rGZtUPq.L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5.Vois9Ua7Gy1AUCmN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cjSC0N4UWngQ34E5U1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C5qLzBUijT.Fiw.jD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7s5kdHekuLmzJ6EED2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iHYlsoPkiMr1d0qoKk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eUI2pK0C9S3gkCbhw9w"/>
</p:tagLst>
</file>

<file path=ppt/theme/theme1.xml><?xml version="1.0" encoding="utf-8"?>
<a:theme xmlns:a="http://schemas.openxmlformats.org/drawingml/2006/main" name="Blank">
  <a:themeElements>
    <a:clrScheme name="W&amp;P-Farben">
      <a:dk1>
        <a:srgbClr val="000055"/>
      </a:dk1>
      <a:lt1>
        <a:sysClr val="window" lastClr="FFFFFF"/>
      </a:lt1>
      <a:dk2>
        <a:srgbClr val="000055"/>
      </a:dk2>
      <a:lt2>
        <a:srgbClr val="FFFFFF"/>
      </a:lt2>
      <a:accent1>
        <a:srgbClr val="000055"/>
      </a:accent1>
      <a:accent2>
        <a:srgbClr val="6688BB"/>
      </a:accent2>
      <a:accent3>
        <a:srgbClr val="BBCCEE"/>
      </a:accent3>
      <a:accent4>
        <a:srgbClr val="E4E4F6"/>
      </a:accent4>
      <a:accent5>
        <a:srgbClr val="999999"/>
      </a:accent5>
      <a:accent6>
        <a:srgbClr val="D2D2D2"/>
      </a:accent6>
      <a:hlink>
        <a:srgbClr val="EEEEEE"/>
      </a:hlink>
      <a:folHlink>
        <a:srgbClr val="AA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3</Words>
  <Application>Microsoft Office PowerPoint</Application>
  <PresentationFormat>A4-Papier (210 x 297 mm)</PresentationFormat>
  <Paragraphs>86</Paragraphs>
  <Slides>1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Wingdings</vt:lpstr>
      <vt:lpstr>Wingdings 2</vt:lpstr>
      <vt:lpstr>Wingdings 3</vt:lpstr>
      <vt:lpstr>Blank</vt:lpstr>
      <vt:lpstr>think-cell Slide</vt:lpstr>
      <vt:lpstr>Wasser-Temperatur-Reglung</vt:lpstr>
      <vt:lpstr>Inhaltsübersicht</vt:lpstr>
      <vt:lpstr>User Story</vt:lpstr>
      <vt:lpstr>Inhaltsübersicht</vt:lpstr>
      <vt:lpstr>Platine – Version 1</vt:lpstr>
      <vt:lpstr>Schaltplan – Version 1</vt:lpstr>
      <vt:lpstr>Steckplatine – Version 1</vt:lpstr>
      <vt:lpstr>Platine – Version 2</vt:lpstr>
      <vt:lpstr>Änderungsverfolgung</vt:lpstr>
      <vt:lpstr>Schaltplan – Version 2</vt:lpstr>
      <vt:lpstr>Steckplatine – Version 2</vt:lpstr>
      <vt:lpstr>Platine – Version 3</vt:lpstr>
      <vt:lpstr>Änderungsverfolgung</vt:lpstr>
      <vt:lpstr>Schaltplan – Version 3</vt:lpstr>
      <vt:lpstr>Steckplatine – Version 3</vt:lpstr>
      <vt:lpstr>Inhaltsübersicht</vt:lpstr>
      <vt:lpstr>Erweiterte Systemanforderungen – Version 2</vt:lpstr>
      <vt:lpstr>Systemlösung – Version 3</vt:lpstr>
    </vt:vector>
  </TitlesOfParts>
  <Company>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in 22 pt fett</dc:title>
  <dc:creator>rohmann</dc:creator>
  <cp:lastModifiedBy>Anwar Zaoui</cp:lastModifiedBy>
  <cp:revision>63</cp:revision>
  <cp:lastPrinted>2011-01-24T09:46:15Z</cp:lastPrinted>
  <dcterms:created xsi:type="dcterms:W3CDTF">2011-01-24T14:07:51Z</dcterms:created>
  <dcterms:modified xsi:type="dcterms:W3CDTF">2017-10-18T14:40:18Z</dcterms:modified>
</cp:coreProperties>
</file>